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71" r:id="rId1"/>
  </p:sldMasterIdLst>
  <p:notesMasterIdLst>
    <p:notesMasterId r:id="rId5"/>
  </p:notesMasterIdLst>
  <p:handoutMasterIdLst>
    <p:handoutMasterId r:id="rId6"/>
  </p:handoutMasterIdLst>
  <p:sldIdLst>
    <p:sldId id="272" r:id="rId2"/>
    <p:sldId id="263" r:id="rId3"/>
    <p:sldId id="277" r:id="rId4"/>
  </p:sldIdLst>
  <p:sldSz cx="12188825" cy="6858000"/>
  <p:notesSz cx="7023100" cy="9309100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10">
          <p15:clr>
            <a:srgbClr val="A4A3A4"/>
          </p15:clr>
        </p15:guide>
        <p15:guide id="2" orient="horz" pos="4230">
          <p15:clr>
            <a:srgbClr val="A4A3A4"/>
          </p15:clr>
        </p15:guide>
        <p15:guide id="3" orient="horz" pos="716">
          <p15:clr>
            <a:srgbClr val="A4A3A4"/>
          </p15:clr>
        </p15:guide>
        <p15:guide id="4" orient="horz" pos="1085">
          <p15:clr>
            <a:srgbClr val="A4A3A4"/>
          </p15:clr>
        </p15:guide>
        <p15:guide id="5" orient="horz" pos="4275">
          <p15:clr>
            <a:srgbClr val="A4A3A4"/>
          </p15:clr>
        </p15:guide>
        <p15:guide id="6" pos="333">
          <p15:clr>
            <a:srgbClr val="A4A3A4"/>
          </p15:clr>
        </p15:guide>
        <p15:guide id="7" pos="7351">
          <p15:clr>
            <a:srgbClr val="A4A3A4"/>
          </p15:clr>
        </p15:guide>
        <p15:guide id="8" pos="141">
          <p15:clr>
            <a:srgbClr val="A4A3A4"/>
          </p15:clr>
        </p15:guide>
        <p15:guide id="9" pos="8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>
          <p15:clr>
            <a:srgbClr val="A4A3A4"/>
          </p15:clr>
        </p15:guide>
        <p15:guide id="2" pos="221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3A7"/>
    <a:srgbClr val="66ACD8"/>
    <a:srgbClr val="147EC2"/>
    <a:srgbClr val="0390E7"/>
    <a:srgbClr val="0082DA"/>
    <a:srgbClr val="9FC0E1"/>
    <a:srgbClr val="518CC9"/>
    <a:srgbClr val="000000"/>
    <a:srgbClr val="2485C4"/>
    <a:srgbClr val="0072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748" autoAdjust="0"/>
    <p:restoredTop sz="93990" autoAdjust="0"/>
  </p:normalViewPr>
  <p:slideViewPr>
    <p:cSldViewPr snapToGrid="0" snapToObjects="1" showGuides="1">
      <p:cViewPr varScale="1">
        <p:scale>
          <a:sx n="93" d="100"/>
          <a:sy n="93" d="100"/>
        </p:scale>
        <p:origin x="92" y="348"/>
      </p:cViewPr>
      <p:guideLst>
        <p:guide orient="horz" pos="510"/>
        <p:guide orient="horz" pos="4230"/>
        <p:guide orient="horz" pos="716"/>
        <p:guide orient="horz" pos="1085"/>
        <p:guide orient="horz" pos="4275"/>
        <p:guide pos="333"/>
        <p:guide pos="7351"/>
        <p:guide pos="141"/>
        <p:guide pos="8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97" d="100"/>
          <a:sy n="97" d="100"/>
        </p:scale>
        <p:origin x="4280" y="216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>
          <a:xfrm>
            <a:off x="0" y="8311487"/>
            <a:ext cx="7023100" cy="986923"/>
          </a:xfrm>
          <a:custGeom>
            <a:avLst/>
            <a:gdLst>
              <a:gd name="connsiteX0" fmla="*/ 10220822 w 10220822"/>
              <a:gd name="connsiteY0" fmla="*/ 0 h 1362194"/>
              <a:gd name="connsiteX1" fmla="*/ 10220822 w 10220822"/>
              <a:gd name="connsiteY1" fmla="*/ 1362194 h 1362194"/>
              <a:gd name="connsiteX2" fmla="*/ 0 w 10220822"/>
              <a:gd name="connsiteY2" fmla="*/ 1362194 h 1362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220822" h="1362194">
                <a:moveTo>
                  <a:pt x="10220822" y="0"/>
                </a:moveTo>
                <a:lnTo>
                  <a:pt x="10220822" y="1362194"/>
                </a:lnTo>
                <a:lnTo>
                  <a:pt x="0" y="1362194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30000">
                <a:srgbClr val="147EC2"/>
              </a:gs>
              <a:gs pos="100000">
                <a:srgbClr val="66ACD8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0" y="885011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ctr"/>
          <a:lstStyle>
            <a:lvl1pPr algn="r">
              <a:defRPr sz="1200"/>
            </a:lvl1pPr>
          </a:lstStyle>
          <a:p>
            <a:pPr algn="l"/>
            <a:fld id="{BBC83403-A46B-1E47-8326-7356D40B5C29}" type="datetimeFigureOut">
              <a:rPr lang="en-US" sz="1000">
                <a:latin typeface="Calibri" panose="020F0502020204030204" pitchFamily="34" charset="0"/>
                <a:cs typeface="Arial" panose="020B0604020202020204" pitchFamily="34" charset="0"/>
              </a:rPr>
              <a:pPr algn="l"/>
              <a:t>3/25/2018</a:t>
            </a:fld>
            <a:endParaRPr lang="en-US" sz="10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6474259" y="8850110"/>
            <a:ext cx="547216" cy="465455"/>
          </a:xfrm>
          <a:prstGeom prst="rect">
            <a:avLst/>
          </a:prstGeom>
        </p:spPr>
        <p:txBody>
          <a:bodyPr vert="horz" lIns="93324" tIns="46662" rIns="93324" bIns="46662" rtlCol="0" anchor="ctr"/>
          <a:lstStyle>
            <a:lvl1pPr algn="r">
              <a:defRPr sz="1200"/>
            </a:lvl1pPr>
          </a:lstStyle>
          <a:p>
            <a:fld id="{29AB3EC6-FA96-1C46-91E9-729685CB0A5E}" type="slidenum">
              <a:rPr lang="en-US" sz="100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‹#›</a:t>
            </a:fld>
            <a:endParaRPr lang="en-US" sz="1000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7205" y="8754574"/>
            <a:ext cx="1416994" cy="44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168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27745" y="151198"/>
            <a:ext cx="3322638" cy="1870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27745" y="2190931"/>
            <a:ext cx="6367611" cy="6275179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461251" y="8842029"/>
            <a:ext cx="560223" cy="465455"/>
          </a:xfrm>
          <a:prstGeom prst="rect">
            <a:avLst/>
          </a:prstGeom>
        </p:spPr>
        <p:txBody>
          <a:bodyPr vert="horz" lIns="93324" tIns="46662" rIns="93324" bIns="46662" rtlCol="0" anchor="ctr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5742524-B4E0-48CC-A130-9440D65D0EAF}" type="slidenum">
              <a:rPr lang="en-US" smtClean="0">
                <a:latin typeface="Calibri" panose="020F0502020204030204" pitchFamily="34" charset="0"/>
              </a:rPr>
              <a:pPr/>
              <a:t>‹#›</a:t>
            </a:fld>
            <a:endParaRPr lang="en-US">
              <a:latin typeface="Calibri" panose="020F0502020204030204" pitchFamily="34" charset="0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0" y="8906308"/>
            <a:ext cx="842772" cy="336897"/>
          </a:xfrm>
          <a:prstGeom prst="rect">
            <a:avLst/>
          </a:prstGeom>
        </p:spPr>
        <p:txBody>
          <a:bodyPr vert="horz" lIns="93324" tIns="46662" rIns="93324" bIns="46662" rtlCol="0" anchor="ctr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9606CD7-3C0F-4F08-8F4B-D4704564BD7E}" type="datetimeFigureOut">
              <a:rPr lang="en-US" smtClean="0">
                <a:latin typeface="Calibri" panose="020F0502020204030204" pitchFamily="34" charset="0"/>
              </a:rPr>
              <a:pPr/>
              <a:t>3/25/2018</a:t>
            </a:fld>
            <a:endParaRPr lang="en-US">
              <a:latin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9824" y="8954629"/>
            <a:ext cx="882654" cy="240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3515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00000"/>
      </a:lnSpc>
      <a:spcBef>
        <a:spcPts val="0"/>
      </a:spcBef>
      <a:defRPr sz="1400" kern="1200">
        <a:solidFill>
          <a:schemeClr val="tx1"/>
        </a:solidFill>
        <a:latin typeface="Cambria" panose="02040503050406030204" pitchFamily="18" charset="0"/>
        <a:ea typeface="+mn-ea"/>
        <a:cs typeface="+mn-cs"/>
      </a:defRPr>
    </a:lvl1pPr>
    <a:lvl2pPr marL="177800" indent="-177800" algn="l" defTabSz="914400" rtl="0" eaLnBrk="1" latinLnBrk="0" hangingPunct="1">
      <a:lnSpc>
        <a:spcPct val="100000"/>
      </a:lnSpc>
      <a:spcBef>
        <a:spcPts val="0"/>
      </a:spcBef>
      <a:buFont typeface="Arial" panose="020B0604020202020204" pitchFamily="34" charset="0"/>
      <a:buChar char="•"/>
      <a:defRPr sz="1400" kern="1200">
        <a:solidFill>
          <a:schemeClr val="tx1"/>
        </a:solidFill>
        <a:latin typeface="Cambria" panose="02040503050406030204" pitchFamily="18" charset="0"/>
        <a:ea typeface="+mn-ea"/>
        <a:cs typeface="+mn-cs"/>
      </a:defRPr>
    </a:lvl2pPr>
    <a:lvl3pPr marL="403225" indent="-169863" algn="l" defTabSz="914400" rtl="0" eaLnBrk="1" latinLnBrk="0" hangingPunct="1">
      <a:lnSpc>
        <a:spcPct val="100000"/>
      </a:lnSpc>
      <a:spcBef>
        <a:spcPts val="0"/>
      </a:spcBef>
      <a:buFont typeface="Calibri" panose="020F0502020204030204" pitchFamily="34" charset="0"/>
      <a:buChar char="̶"/>
      <a:defRPr sz="1400" kern="1200">
        <a:solidFill>
          <a:schemeClr val="tx1"/>
        </a:solidFill>
        <a:latin typeface="Cambria" panose="02040503050406030204" pitchFamily="18" charset="0"/>
        <a:ea typeface="+mn-ea"/>
        <a:cs typeface="+mn-cs"/>
      </a:defRPr>
    </a:lvl3pPr>
    <a:lvl4pPr marL="914400" indent="-177800" algn="l" defTabSz="914400" rtl="0" eaLnBrk="1" latinLnBrk="0" hangingPunct="1">
      <a:lnSpc>
        <a:spcPct val="100000"/>
      </a:lnSpc>
      <a:spcBef>
        <a:spcPts val="0"/>
      </a:spcBef>
      <a:buFont typeface="Arial" panose="020B0604020202020204" pitchFamily="34" charset="0"/>
      <a:buChar char="•"/>
      <a:defRPr sz="1400" kern="1200">
        <a:solidFill>
          <a:schemeClr val="tx1"/>
        </a:solidFill>
        <a:latin typeface="Cambria" panose="02040503050406030204" pitchFamily="18" charset="0"/>
        <a:ea typeface="+mn-ea"/>
        <a:cs typeface="+mn-cs"/>
      </a:defRPr>
    </a:lvl4pPr>
    <a:lvl5pPr marL="1828800" algn="l" defTabSz="914400" rtl="0" eaLnBrk="1" latinLnBrk="0" hangingPunct="1">
      <a:lnSpc>
        <a:spcPct val="100000"/>
      </a:lnSpc>
      <a:spcBef>
        <a:spcPts val="300"/>
      </a:spcBef>
      <a:defRPr sz="1400" kern="1200">
        <a:solidFill>
          <a:schemeClr val="tx1"/>
        </a:solidFill>
        <a:latin typeface="Cambria" panose="020405030504060302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10.png"/><Relationship Id="rId4" Type="http://schemas.openxmlformats.org/officeDocument/2006/relationships/image" Target="../media/image6.jpeg"/><Relationship Id="rId9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png"/><Relationship Id="rId2" Type="http://schemas.openxmlformats.org/officeDocument/2006/relationships/vmlDrawing" Target="../drawings/vmlDrawing5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P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 userDrawn="1"/>
        </p:nvSpPr>
        <p:spPr>
          <a:xfrm>
            <a:off x="0" y="0"/>
            <a:ext cx="12188825" cy="3631159"/>
          </a:xfrm>
          <a:custGeom>
            <a:avLst/>
            <a:gdLst>
              <a:gd name="connsiteX0" fmla="*/ 0 w 12188825"/>
              <a:gd name="connsiteY0" fmla="*/ 0 h 3631159"/>
              <a:gd name="connsiteX1" fmla="*/ 12188825 w 12188825"/>
              <a:gd name="connsiteY1" fmla="*/ 0 h 3631159"/>
              <a:gd name="connsiteX2" fmla="*/ 12188825 w 12188825"/>
              <a:gd name="connsiteY2" fmla="*/ 406121 h 3631159"/>
              <a:gd name="connsiteX3" fmla="*/ 12188825 w 12188825"/>
              <a:gd name="connsiteY3" fmla="*/ 536712 h 3631159"/>
              <a:gd name="connsiteX4" fmla="*/ 12188825 w 12188825"/>
              <a:gd name="connsiteY4" fmla="*/ 2006676 h 3631159"/>
              <a:gd name="connsiteX5" fmla="*/ 0 w 12188825"/>
              <a:gd name="connsiteY5" fmla="*/ 3631159 h 3631159"/>
              <a:gd name="connsiteX6" fmla="*/ 0 w 12188825"/>
              <a:gd name="connsiteY6" fmla="*/ 536712 h 3631159"/>
              <a:gd name="connsiteX7" fmla="*/ 0 w 12188825"/>
              <a:gd name="connsiteY7" fmla="*/ 406121 h 3631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825" h="3631159">
                <a:moveTo>
                  <a:pt x="0" y="0"/>
                </a:moveTo>
                <a:lnTo>
                  <a:pt x="12188825" y="0"/>
                </a:lnTo>
                <a:lnTo>
                  <a:pt x="12188825" y="406121"/>
                </a:lnTo>
                <a:lnTo>
                  <a:pt x="12188825" y="536712"/>
                </a:lnTo>
                <a:lnTo>
                  <a:pt x="12188825" y="2006676"/>
                </a:lnTo>
                <a:lnTo>
                  <a:pt x="0" y="3631159"/>
                </a:lnTo>
                <a:lnTo>
                  <a:pt x="0" y="536712"/>
                </a:lnTo>
                <a:lnTo>
                  <a:pt x="0" y="406121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30000">
                <a:srgbClr val="147EC2"/>
              </a:gs>
              <a:gs pos="100000">
                <a:srgbClr val="66ACD8"/>
              </a:gs>
            </a:gsLst>
            <a:lin ang="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2754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00698" y="4971389"/>
            <a:ext cx="10803022" cy="1236024"/>
          </a:xfrm>
        </p:spPr>
        <p:txBody>
          <a:bodyPr>
            <a:normAutofit/>
          </a:bodyPr>
          <a:lstStyle>
            <a:lvl1pPr marL="0" indent="0">
              <a:buNone/>
              <a:defRPr sz="2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942" y="1083045"/>
            <a:ext cx="3380650" cy="1069549"/>
          </a:xfrm>
          <a:prstGeom prst="rect">
            <a:avLst/>
          </a:prstGeom>
        </p:spPr>
      </p:pic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701706" y="3893619"/>
            <a:ext cx="10797868" cy="1005840"/>
          </a:xfrm>
        </p:spPr>
        <p:txBody>
          <a:bodyPr/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5695121" y="745435"/>
            <a:ext cx="5198097" cy="314870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Freeform 11"/>
          <p:cNvSpPr/>
          <p:nvPr userDrawn="1"/>
        </p:nvSpPr>
        <p:spPr>
          <a:xfrm rot="16200000">
            <a:off x="9530896" y="4200071"/>
            <a:ext cx="650589" cy="4665272"/>
          </a:xfrm>
          <a:custGeom>
            <a:avLst/>
            <a:gdLst>
              <a:gd name="connsiteX0" fmla="*/ 650589 w 650589"/>
              <a:gd name="connsiteY0" fmla="*/ 4665272 h 4665272"/>
              <a:gd name="connsiteX1" fmla="*/ 0 w 650589"/>
              <a:gd name="connsiteY1" fmla="*/ 4665272 h 4665272"/>
              <a:gd name="connsiteX2" fmla="*/ 0 w 650589"/>
              <a:gd name="connsiteY2" fmla="*/ 0 h 4665272"/>
              <a:gd name="connsiteX3" fmla="*/ 621771 w 650589"/>
              <a:gd name="connsiteY3" fmla="*/ 4665270 h 4665272"/>
              <a:gd name="connsiteX4" fmla="*/ 650589 w 650589"/>
              <a:gd name="connsiteY4" fmla="*/ 4665270 h 4665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0589" h="4665272">
                <a:moveTo>
                  <a:pt x="650589" y="4665272"/>
                </a:moveTo>
                <a:lnTo>
                  <a:pt x="0" y="4665272"/>
                </a:lnTo>
                <a:lnTo>
                  <a:pt x="0" y="0"/>
                </a:lnTo>
                <a:lnTo>
                  <a:pt x="621771" y="4665270"/>
                </a:lnTo>
                <a:lnTo>
                  <a:pt x="650589" y="466527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30000">
                <a:srgbClr val="147EC2"/>
              </a:gs>
              <a:gs pos="100000">
                <a:srgbClr val="66ACD8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700698" y="6636675"/>
            <a:ext cx="4755268" cy="141812"/>
          </a:xfrm>
        </p:spPr>
        <p:txBody>
          <a:bodyPr lIns="0" rIns="0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OMPANY CONFIDENTIAL  |  FOR INTERNAL USE ONLY  |  DO NOT COPY</a:t>
            </a:r>
          </a:p>
        </p:txBody>
      </p:sp>
    </p:spTree>
    <p:extLst>
      <p:ext uri="{BB962C8B-B14F-4D97-AF65-F5344CB8AC3E}">
        <p14:creationId xmlns:p14="http://schemas.microsoft.com/office/powerpoint/2010/main" val="13520819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Blue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/>
          <p:nvPr userDrawn="1"/>
        </p:nvSpPr>
        <p:spPr>
          <a:xfrm>
            <a:off x="1969591" y="5495807"/>
            <a:ext cx="10220822" cy="1362194"/>
          </a:xfrm>
          <a:custGeom>
            <a:avLst/>
            <a:gdLst>
              <a:gd name="connsiteX0" fmla="*/ 10220822 w 10220822"/>
              <a:gd name="connsiteY0" fmla="*/ 0 h 1362194"/>
              <a:gd name="connsiteX1" fmla="*/ 10220822 w 10220822"/>
              <a:gd name="connsiteY1" fmla="*/ 1362194 h 1362194"/>
              <a:gd name="connsiteX2" fmla="*/ 0 w 10220822"/>
              <a:gd name="connsiteY2" fmla="*/ 1362194 h 1362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220822" h="1362194">
                <a:moveTo>
                  <a:pt x="10220822" y="0"/>
                </a:moveTo>
                <a:lnTo>
                  <a:pt x="10220822" y="1362194"/>
                </a:lnTo>
                <a:lnTo>
                  <a:pt x="0" y="1362194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30000">
                <a:srgbClr val="147EC2"/>
              </a:gs>
              <a:gs pos="100000">
                <a:srgbClr val="66ACD8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31814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98483" y="6472463"/>
            <a:ext cx="8379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fld id="{B39F3810-4318-4880-9D52-993D34A8444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8119" y="5953788"/>
            <a:ext cx="1589640" cy="502920"/>
          </a:xfrm>
          <a:prstGeom prst="rect">
            <a:avLst/>
          </a:prstGeom>
        </p:spPr>
      </p:pic>
      <p:sp>
        <p:nvSpPr>
          <p:cNvPr id="10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6862206" y="6586980"/>
            <a:ext cx="4755268" cy="141812"/>
          </a:xfrm>
        </p:spPr>
        <p:txBody>
          <a:bodyPr lIns="0" rIns="0"/>
          <a:lstStyle>
            <a:lvl1pPr algn="r"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COMPANY CONFIDENTIAL  |  FOR INTERNAL USE ONLY  |  DO NOT COPY</a:t>
            </a:r>
          </a:p>
        </p:txBody>
      </p:sp>
    </p:spTree>
    <p:extLst>
      <p:ext uri="{BB962C8B-B14F-4D97-AF65-F5344CB8AC3E}">
        <p14:creationId xmlns:p14="http://schemas.microsoft.com/office/powerpoint/2010/main" val="5322900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41431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98483" y="6472463"/>
            <a:ext cx="8379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fld id="{B39F3810-4318-4880-9D52-993D34A8444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6862206" y="6586980"/>
            <a:ext cx="4755268" cy="141812"/>
          </a:xfrm>
        </p:spPr>
        <p:txBody>
          <a:bodyPr lIns="0" rIns="0"/>
          <a:lstStyle>
            <a:lvl1pPr algn="r"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COMPANY CONFIDENTIAL  |  FOR INTERNAL USE ONLY  |  DO NOT COPY</a:t>
            </a:r>
          </a:p>
        </p:txBody>
      </p:sp>
    </p:spTree>
    <p:extLst>
      <p:ext uri="{BB962C8B-B14F-4D97-AF65-F5344CB8AC3E}">
        <p14:creationId xmlns:p14="http://schemas.microsoft.com/office/powerpoint/2010/main" val="8905091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1648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98483" y="6472463"/>
            <a:ext cx="8379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fld id="{B39F3810-4318-4880-9D52-993D34A844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6862206" y="6586980"/>
            <a:ext cx="4755268" cy="141812"/>
          </a:xfrm>
        </p:spPr>
        <p:txBody>
          <a:bodyPr lIns="0" rIns="0"/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OMPANY CONFIDENTIAL  |  FOR INTERNAL USE ONLY  |  DO NOT COPY</a:t>
            </a:r>
          </a:p>
        </p:txBody>
      </p:sp>
    </p:spTree>
    <p:extLst>
      <p:ext uri="{BB962C8B-B14F-4D97-AF65-F5344CB8AC3E}">
        <p14:creationId xmlns:p14="http://schemas.microsoft.com/office/powerpoint/2010/main" val="12846206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ction_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0952"/>
          <a:stretch/>
        </p:blipFill>
        <p:spPr>
          <a:xfrm>
            <a:off x="-1" y="0"/>
            <a:ext cx="12188825" cy="4049486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0"/>
            <a:ext cx="11932356" cy="4049486"/>
          </a:xfrm>
          <a:prstGeom prst="rect">
            <a:avLst/>
          </a:prstGeom>
          <a:gradFill>
            <a:gsLst>
              <a:gs pos="0">
                <a:srgbClr val="0063A7">
                  <a:alpha val="46000"/>
                </a:srgbClr>
              </a:gs>
              <a:gs pos="100000">
                <a:srgbClr val="0063A7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1588" y="0"/>
            <a:ext cx="6681434" cy="4049486"/>
          </a:xfrm>
          <a:prstGeom prst="rect">
            <a:avLst/>
          </a:prstGeom>
          <a:gradFill>
            <a:gsLst>
              <a:gs pos="0">
                <a:srgbClr val="0063A7">
                  <a:alpha val="75000"/>
                </a:srgbClr>
              </a:gs>
              <a:gs pos="100000">
                <a:srgbClr val="0063A7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25130" y="4520573"/>
            <a:ext cx="11141740" cy="461665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995" y="497282"/>
            <a:ext cx="4373978" cy="978770"/>
          </a:xfrm>
          <a:prstGeom prst="rect">
            <a:avLst/>
          </a:prstGeom>
        </p:spPr>
      </p:pic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528639" y="2373874"/>
            <a:ext cx="11141075" cy="707886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3999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Click to edit Presentation Title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6"/>
          </p:nvPr>
        </p:nvSpPr>
        <p:spPr>
          <a:xfrm>
            <a:off x="11463300" y="6486977"/>
            <a:ext cx="725525" cy="365125"/>
          </a:xfrm>
        </p:spPr>
        <p:txBody>
          <a:bodyPr/>
          <a:lstStyle/>
          <a:p>
            <a:fld id="{A9AB427D-0AC8-49B2-AE4E-35E104EB3F5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7232" y="5998046"/>
            <a:ext cx="1866684" cy="41741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329" y="5998733"/>
            <a:ext cx="1555197" cy="421858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7195" y="6013600"/>
            <a:ext cx="1018178" cy="474763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5774" y="5974916"/>
            <a:ext cx="1461417" cy="440542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9049" y="6023581"/>
            <a:ext cx="1716400" cy="456810"/>
          </a:xfrm>
          <a:prstGeom prst="rect">
            <a:avLst/>
          </a:prstGeom>
        </p:spPr>
      </p:pic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69150" y="6486977"/>
            <a:ext cx="467963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r"/>
            <a:r>
              <a:rPr lang="en-US" dirty="0"/>
              <a:t>COMPANY CONFIDENTIAL  |  FOR INTERNAL USE ONLY  |  DO NOT COPY</a:t>
            </a:r>
          </a:p>
        </p:txBody>
      </p:sp>
    </p:spTree>
    <p:extLst>
      <p:ext uri="{BB962C8B-B14F-4D97-AF65-F5344CB8AC3E}">
        <p14:creationId xmlns:p14="http://schemas.microsoft.com/office/powerpoint/2010/main" val="39201407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onten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528639" y="669087"/>
            <a:ext cx="3742147" cy="954107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2799" b="1">
                <a:solidFill>
                  <a:srgbClr val="0063A8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48978"/>
            <a:ext cx="12190415" cy="909022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3175" y="5948978"/>
            <a:ext cx="12190414" cy="909022"/>
          </a:xfrm>
          <a:prstGeom prst="rect">
            <a:avLst/>
          </a:prstGeom>
          <a:gradFill>
            <a:gsLst>
              <a:gs pos="0">
                <a:srgbClr val="0063A7">
                  <a:alpha val="46000"/>
                </a:srgbClr>
              </a:gs>
              <a:gs pos="100000">
                <a:srgbClr val="0063A7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8" name="Rectangle 17"/>
          <p:cNvSpPr/>
          <p:nvPr userDrawn="1"/>
        </p:nvSpPr>
        <p:spPr>
          <a:xfrm>
            <a:off x="1588" y="5948980"/>
            <a:ext cx="4882384" cy="909021"/>
          </a:xfrm>
          <a:prstGeom prst="rect">
            <a:avLst/>
          </a:prstGeom>
          <a:gradFill>
            <a:gsLst>
              <a:gs pos="0">
                <a:srgbClr val="0063A7">
                  <a:alpha val="75000"/>
                </a:srgbClr>
              </a:gs>
              <a:gs pos="52000">
                <a:srgbClr val="0063A7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995" y="6112969"/>
            <a:ext cx="2818657" cy="630733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776788" y="2"/>
            <a:ext cx="7416800" cy="59483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28638" y="1919287"/>
            <a:ext cx="3741737" cy="3804180"/>
          </a:xfrm>
        </p:spPr>
        <p:txBody>
          <a:bodyPr/>
          <a:lstStyle>
            <a:lvl1pPr>
              <a:spcBef>
                <a:spcPts val="1200"/>
              </a:spcBef>
              <a:defRPr sz="259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63300" y="6486977"/>
            <a:ext cx="725525" cy="365125"/>
          </a:xfrm>
        </p:spPr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fld id="{A9AB427D-0AC8-49B2-AE4E-35E104EB3F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769150" y="6486977"/>
            <a:ext cx="4679638" cy="365125"/>
          </a:xfrm>
        </p:spPr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algn="r"/>
            <a:r>
              <a:rPr lang="en-US" dirty="0"/>
              <a:t>COMPANY CONFIDENTIAL  |  FOR INTERNAL USE ONLY  |  DO NOT COPY</a:t>
            </a:r>
          </a:p>
        </p:txBody>
      </p:sp>
    </p:spTree>
    <p:extLst>
      <p:ext uri="{BB962C8B-B14F-4D97-AF65-F5344CB8AC3E}">
        <p14:creationId xmlns:p14="http://schemas.microsoft.com/office/powerpoint/2010/main" val="31276000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NoP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/>
          <p:cNvSpPr/>
          <p:nvPr userDrawn="1"/>
        </p:nvSpPr>
        <p:spPr>
          <a:xfrm>
            <a:off x="0" y="0"/>
            <a:ext cx="12188825" cy="3631159"/>
          </a:xfrm>
          <a:custGeom>
            <a:avLst/>
            <a:gdLst>
              <a:gd name="connsiteX0" fmla="*/ 0 w 12188825"/>
              <a:gd name="connsiteY0" fmla="*/ 0 h 3631159"/>
              <a:gd name="connsiteX1" fmla="*/ 12188825 w 12188825"/>
              <a:gd name="connsiteY1" fmla="*/ 0 h 3631159"/>
              <a:gd name="connsiteX2" fmla="*/ 12188825 w 12188825"/>
              <a:gd name="connsiteY2" fmla="*/ 406121 h 3631159"/>
              <a:gd name="connsiteX3" fmla="*/ 12188825 w 12188825"/>
              <a:gd name="connsiteY3" fmla="*/ 536712 h 3631159"/>
              <a:gd name="connsiteX4" fmla="*/ 12188825 w 12188825"/>
              <a:gd name="connsiteY4" fmla="*/ 2006676 h 3631159"/>
              <a:gd name="connsiteX5" fmla="*/ 0 w 12188825"/>
              <a:gd name="connsiteY5" fmla="*/ 3631159 h 3631159"/>
              <a:gd name="connsiteX6" fmla="*/ 0 w 12188825"/>
              <a:gd name="connsiteY6" fmla="*/ 536712 h 3631159"/>
              <a:gd name="connsiteX7" fmla="*/ 0 w 12188825"/>
              <a:gd name="connsiteY7" fmla="*/ 406121 h 3631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825" h="3631159">
                <a:moveTo>
                  <a:pt x="0" y="0"/>
                </a:moveTo>
                <a:lnTo>
                  <a:pt x="12188825" y="0"/>
                </a:lnTo>
                <a:lnTo>
                  <a:pt x="12188825" y="406121"/>
                </a:lnTo>
                <a:lnTo>
                  <a:pt x="12188825" y="536712"/>
                </a:lnTo>
                <a:lnTo>
                  <a:pt x="12188825" y="2006676"/>
                </a:lnTo>
                <a:lnTo>
                  <a:pt x="0" y="3631159"/>
                </a:lnTo>
                <a:lnTo>
                  <a:pt x="0" y="536712"/>
                </a:lnTo>
                <a:lnTo>
                  <a:pt x="0" y="406121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30000">
                <a:srgbClr val="147EC2"/>
              </a:gs>
              <a:gs pos="100000">
                <a:srgbClr val="66ACD8"/>
              </a:gs>
            </a:gsLst>
            <a:lin ang="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7"/>
          <p:cNvSpPr/>
          <p:nvPr userDrawn="1"/>
        </p:nvSpPr>
        <p:spPr>
          <a:xfrm rot="16200000">
            <a:off x="9530896" y="4200071"/>
            <a:ext cx="650589" cy="4665272"/>
          </a:xfrm>
          <a:custGeom>
            <a:avLst/>
            <a:gdLst>
              <a:gd name="connsiteX0" fmla="*/ 650589 w 650589"/>
              <a:gd name="connsiteY0" fmla="*/ 4665272 h 4665272"/>
              <a:gd name="connsiteX1" fmla="*/ 0 w 650589"/>
              <a:gd name="connsiteY1" fmla="*/ 4665272 h 4665272"/>
              <a:gd name="connsiteX2" fmla="*/ 0 w 650589"/>
              <a:gd name="connsiteY2" fmla="*/ 0 h 4665272"/>
              <a:gd name="connsiteX3" fmla="*/ 621771 w 650589"/>
              <a:gd name="connsiteY3" fmla="*/ 4665270 h 4665272"/>
              <a:gd name="connsiteX4" fmla="*/ 650589 w 650589"/>
              <a:gd name="connsiteY4" fmla="*/ 4665270 h 4665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0589" h="4665272">
                <a:moveTo>
                  <a:pt x="650589" y="4665272"/>
                </a:moveTo>
                <a:lnTo>
                  <a:pt x="0" y="4665272"/>
                </a:lnTo>
                <a:lnTo>
                  <a:pt x="0" y="0"/>
                </a:lnTo>
                <a:lnTo>
                  <a:pt x="621771" y="4665270"/>
                </a:lnTo>
                <a:lnTo>
                  <a:pt x="650589" y="466527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30000">
                <a:srgbClr val="147EC2"/>
              </a:gs>
              <a:gs pos="100000">
                <a:srgbClr val="66ACD8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8449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00698" y="4971389"/>
            <a:ext cx="10713537" cy="1236024"/>
          </a:xfrm>
        </p:spPr>
        <p:txBody>
          <a:bodyPr>
            <a:normAutofit/>
          </a:bodyPr>
          <a:lstStyle>
            <a:lvl1pPr marL="0" indent="0">
              <a:buNone/>
              <a:defRPr sz="2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701696" y="3893619"/>
            <a:ext cx="10708425" cy="1005840"/>
          </a:xfrm>
        </p:spPr>
        <p:txBody>
          <a:bodyPr/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700698" y="6646614"/>
            <a:ext cx="4755268" cy="141812"/>
          </a:xfrm>
        </p:spPr>
        <p:txBody>
          <a:bodyPr lIns="0" rIns="0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OMPANY CONFIDENTIAL  |  FOR INTERNAL USE ONLY  |  DO NOT COPY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942" y="1083045"/>
            <a:ext cx="3380650" cy="1069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0191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_No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70089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98483" y="6472463"/>
            <a:ext cx="8379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fld id="{B39F3810-4318-4880-9D52-993D34A8444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3153" y="6326436"/>
            <a:ext cx="1474923" cy="477221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Freeform 7"/>
          <p:cNvSpPr/>
          <p:nvPr userDrawn="1"/>
        </p:nvSpPr>
        <p:spPr>
          <a:xfrm rot="5400000">
            <a:off x="2010516" y="-2004167"/>
            <a:ext cx="650589" cy="4665272"/>
          </a:xfrm>
          <a:custGeom>
            <a:avLst/>
            <a:gdLst>
              <a:gd name="connsiteX0" fmla="*/ 650589 w 650589"/>
              <a:gd name="connsiteY0" fmla="*/ 4665272 h 4665272"/>
              <a:gd name="connsiteX1" fmla="*/ 0 w 650589"/>
              <a:gd name="connsiteY1" fmla="*/ 4665272 h 4665272"/>
              <a:gd name="connsiteX2" fmla="*/ 0 w 650589"/>
              <a:gd name="connsiteY2" fmla="*/ 0 h 4665272"/>
              <a:gd name="connsiteX3" fmla="*/ 621771 w 650589"/>
              <a:gd name="connsiteY3" fmla="*/ 4665270 h 4665272"/>
              <a:gd name="connsiteX4" fmla="*/ 650589 w 650589"/>
              <a:gd name="connsiteY4" fmla="*/ 4665270 h 4665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0589" h="4665272">
                <a:moveTo>
                  <a:pt x="650589" y="4665272"/>
                </a:moveTo>
                <a:lnTo>
                  <a:pt x="0" y="4665272"/>
                </a:lnTo>
                <a:lnTo>
                  <a:pt x="0" y="0"/>
                </a:lnTo>
                <a:lnTo>
                  <a:pt x="621771" y="4665270"/>
                </a:lnTo>
                <a:lnTo>
                  <a:pt x="650589" y="466527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33000">
                <a:srgbClr val="147EC2"/>
              </a:gs>
              <a:gs pos="100000">
                <a:srgbClr val="66ACD8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Freeform 14"/>
          <p:cNvSpPr/>
          <p:nvPr userDrawn="1"/>
        </p:nvSpPr>
        <p:spPr>
          <a:xfrm>
            <a:off x="1969591" y="5495807"/>
            <a:ext cx="10220822" cy="1362194"/>
          </a:xfrm>
          <a:custGeom>
            <a:avLst/>
            <a:gdLst>
              <a:gd name="connsiteX0" fmla="*/ 10220822 w 10220822"/>
              <a:gd name="connsiteY0" fmla="*/ 0 h 1362194"/>
              <a:gd name="connsiteX1" fmla="*/ 10220822 w 10220822"/>
              <a:gd name="connsiteY1" fmla="*/ 1362194 h 1362194"/>
              <a:gd name="connsiteX2" fmla="*/ 0 w 10220822"/>
              <a:gd name="connsiteY2" fmla="*/ 1362194 h 1362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220822" h="1362194">
                <a:moveTo>
                  <a:pt x="10220822" y="0"/>
                </a:moveTo>
                <a:lnTo>
                  <a:pt x="10220822" y="1362194"/>
                </a:lnTo>
                <a:lnTo>
                  <a:pt x="0" y="1362194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30000">
                <a:srgbClr val="147EC2"/>
              </a:gs>
              <a:gs pos="100000">
                <a:srgbClr val="66ACD8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8119" y="5953788"/>
            <a:ext cx="1589640" cy="502920"/>
          </a:xfrm>
          <a:prstGeom prst="rect">
            <a:avLst/>
          </a:prstGeom>
        </p:spPr>
      </p:pic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198483" y="6472997"/>
            <a:ext cx="8379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2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Calibri" panose="020F05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39F3810-4318-4880-9D52-993D34A844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6862206" y="6586980"/>
            <a:ext cx="4755268" cy="141812"/>
          </a:xfrm>
        </p:spPr>
        <p:txBody>
          <a:bodyPr lIns="0" rIns="0"/>
          <a:lstStyle>
            <a:lvl1pPr algn="r"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COMPANY CONFIDENTIAL  |  FOR INTERNAL USE ONLY  |  DO NOT COPY</a:t>
            </a:r>
          </a:p>
        </p:txBody>
      </p:sp>
    </p:spTree>
    <p:extLst>
      <p:ext uri="{BB962C8B-B14F-4D97-AF65-F5344CB8AC3E}">
        <p14:creationId xmlns:p14="http://schemas.microsoft.com/office/powerpoint/2010/main" val="38365406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_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>
          <a:xfrm rot="5400000">
            <a:off x="2010516" y="-2004167"/>
            <a:ext cx="650589" cy="4665272"/>
          </a:xfrm>
          <a:custGeom>
            <a:avLst/>
            <a:gdLst>
              <a:gd name="connsiteX0" fmla="*/ 650589 w 650589"/>
              <a:gd name="connsiteY0" fmla="*/ 4665272 h 4665272"/>
              <a:gd name="connsiteX1" fmla="*/ 0 w 650589"/>
              <a:gd name="connsiteY1" fmla="*/ 4665272 h 4665272"/>
              <a:gd name="connsiteX2" fmla="*/ 0 w 650589"/>
              <a:gd name="connsiteY2" fmla="*/ 0 h 4665272"/>
              <a:gd name="connsiteX3" fmla="*/ 621771 w 650589"/>
              <a:gd name="connsiteY3" fmla="*/ 4665270 h 4665272"/>
              <a:gd name="connsiteX4" fmla="*/ 650589 w 650589"/>
              <a:gd name="connsiteY4" fmla="*/ 4665270 h 4665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0589" h="4665272">
                <a:moveTo>
                  <a:pt x="650589" y="4665272"/>
                </a:moveTo>
                <a:lnTo>
                  <a:pt x="0" y="4665272"/>
                </a:lnTo>
                <a:lnTo>
                  <a:pt x="0" y="0"/>
                </a:lnTo>
                <a:lnTo>
                  <a:pt x="621771" y="4665270"/>
                </a:lnTo>
                <a:lnTo>
                  <a:pt x="650589" y="466527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33000">
                <a:srgbClr val="147EC2"/>
              </a:gs>
              <a:gs pos="100000">
                <a:srgbClr val="66ACD8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Freeform 9"/>
          <p:cNvSpPr/>
          <p:nvPr userDrawn="1"/>
        </p:nvSpPr>
        <p:spPr>
          <a:xfrm>
            <a:off x="1969591" y="5495807"/>
            <a:ext cx="10220822" cy="1362194"/>
          </a:xfrm>
          <a:custGeom>
            <a:avLst/>
            <a:gdLst>
              <a:gd name="connsiteX0" fmla="*/ 10220822 w 10220822"/>
              <a:gd name="connsiteY0" fmla="*/ 0 h 1362194"/>
              <a:gd name="connsiteX1" fmla="*/ 10220822 w 10220822"/>
              <a:gd name="connsiteY1" fmla="*/ 1362194 h 1362194"/>
              <a:gd name="connsiteX2" fmla="*/ 0 w 10220822"/>
              <a:gd name="connsiteY2" fmla="*/ 1362194 h 1362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220822" h="1362194">
                <a:moveTo>
                  <a:pt x="10220822" y="0"/>
                </a:moveTo>
                <a:lnTo>
                  <a:pt x="10220822" y="1362194"/>
                </a:lnTo>
                <a:lnTo>
                  <a:pt x="0" y="1362194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30000">
                <a:srgbClr val="147EC2"/>
              </a:gs>
              <a:gs pos="100000">
                <a:srgbClr val="66ACD8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027008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98483" y="6472463"/>
            <a:ext cx="8379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2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fld id="{B39F3810-4318-4880-9D52-993D34A8444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528638" y="1341782"/>
            <a:ext cx="11141075" cy="43430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8119" y="5953788"/>
            <a:ext cx="1589640" cy="502920"/>
          </a:xfrm>
          <a:prstGeom prst="rect">
            <a:avLst/>
          </a:prstGeom>
        </p:spPr>
      </p:pic>
      <p:sp>
        <p:nvSpPr>
          <p:cNvPr id="13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6862206" y="6586980"/>
            <a:ext cx="4755268" cy="141812"/>
          </a:xfrm>
        </p:spPr>
        <p:txBody>
          <a:bodyPr lIns="0" rIns="0"/>
          <a:lstStyle>
            <a:lvl1pPr algn="r"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COMPANY CONFIDENTIAL  |  FOR INTERNAL USE ONLY  |  DO NOT COPY</a:t>
            </a:r>
          </a:p>
        </p:txBody>
      </p:sp>
    </p:spTree>
    <p:extLst>
      <p:ext uri="{BB962C8B-B14F-4D97-AF65-F5344CB8AC3E}">
        <p14:creationId xmlns:p14="http://schemas.microsoft.com/office/powerpoint/2010/main" val="23725027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_Content.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/>
          <p:cNvSpPr/>
          <p:nvPr userDrawn="1"/>
        </p:nvSpPr>
        <p:spPr>
          <a:xfrm>
            <a:off x="1969591" y="5495807"/>
            <a:ext cx="10220822" cy="1362194"/>
          </a:xfrm>
          <a:custGeom>
            <a:avLst/>
            <a:gdLst>
              <a:gd name="connsiteX0" fmla="*/ 10220822 w 10220822"/>
              <a:gd name="connsiteY0" fmla="*/ 0 h 1362194"/>
              <a:gd name="connsiteX1" fmla="*/ 10220822 w 10220822"/>
              <a:gd name="connsiteY1" fmla="*/ 1362194 h 1362194"/>
              <a:gd name="connsiteX2" fmla="*/ 0 w 10220822"/>
              <a:gd name="connsiteY2" fmla="*/ 1362194 h 1362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220822" h="1362194">
                <a:moveTo>
                  <a:pt x="10220822" y="0"/>
                </a:moveTo>
                <a:lnTo>
                  <a:pt x="10220822" y="1362194"/>
                </a:lnTo>
                <a:lnTo>
                  <a:pt x="0" y="1362194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30000">
                <a:srgbClr val="147EC2"/>
              </a:gs>
              <a:gs pos="100000">
                <a:srgbClr val="66ACD8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16090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98483" y="6472463"/>
            <a:ext cx="8379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fld id="{B39F3810-4318-4880-9D52-993D34A8444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0"/>
          </p:nvPr>
        </p:nvSpPr>
        <p:spPr>
          <a:xfrm>
            <a:off x="528638" y="1321283"/>
            <a:ext cx="11141740" cy="4522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8119" y="5953788"/>
            <a:ext cx="1589640" cy="502920"/>
          </a:xfrm>
          <a:prstGeom prst="rect">
            <a:avLst/>
          </a:prstGeom>
        </p:spPr>
      </p:pic>
      <p:sp>
        <p:nvSpPr>
          <p:cNvPr id="11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6862206" y="6586980"/>
            <a:ext cx="4755268" cy="141812"/>
          </a:xfrm>
        </p:spPr>
        <p:txBody>
          <a:bodyPr lIns="0" rIns="0"/>
          <a:lstStyle>
            <a:lvl1pPr algn="r"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COMPANY CONFIDENTIAL  |  FOR INTERNAL USE ONLY  |  DO NOT COPY</a:t>
            </a:r>
          </a:p>
        </p:txBody>
      </p:sp>
    </p:spTree>
    <p:extLst>
      <p:ext uri="{BB962C8B-B14F-4D97-AF65-F5344CB8AC3E}">
        <p14:creationId xmlns:p14="http://schemas.microsoft.com/office/powerpoint/2010/main" val="11954741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Head_Content.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 userDrawn="1"/>
        </p:nvSpPr>
        <p:spPr>
          <a:xfrm>
            <a:off x="1969591" y="5495807"/>
            <a:ext cx="10220822" cy="1362194"/>
          </a:xfrm>
          <a:custGeom>
            <a:avLst/>
            <a:gdLst>
              <a:gd name="connsiteX0" fmla="*/ 10220822 w 10220822"/>
              <a:gd name="connsiteY0" fmla="*/ 0 h 1362194"/>
              <a:gd name="connsiteX1" fmla="*/ 10220822 w 10220822"/>
              <a:gd name="connsiteY1" fmla="*/ 1362194 h 1362194"/>
              <a:gd name="connsiteX2" fmla="*/ 0 w 10220822"/>
              <a:gd name="connsiteY2" fmla="*/ 1362194 h 1362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220822" h="1362194">
                <a:moveTo>
                  <a:pt x="10220822" y="0"/>
                </a:moveTo>
                <a:lnTo>
                  <a:pt x="10220822" y="1362194"/>
                </a:lnTo>
                <a:lnTo>
                  <a:pt x="0" y="1362194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30000">
                <a:srgbClr val="147EC2"/>
              </a:gs>
              <a:gs pos="100000">
                <a:srgbClr val="66ACD8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015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98483" y="6472463"/>
            <a:ext cx="8379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fld id="{B39F3810-4318-4880-9D52-993D34A8444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8119" y="5953788"/>
            <a:ext cx="1589640" cy="502920"/>
          </a:xfrm>
          <a:prstGeom prst="rect">
            <a:avLst/>
          </a:prstGeom>
        </p:spPr>
      </p:pic>
      <p:sp>
        <p:nvSpPr>
          <p:cNvPr id="9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6862206" y="6586980"/>
            <a:ext cx="4755268" cy="141812"/>
          </a:xfrm>
        </p:spPr>
        <p:txBody>
          <a:bodyPr lIns="0" rIns="0"/>
          <a:lstStyle>
            <a:lvl1pPr algn="r"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COMPANY CONFIDENTIAL  |  FOR INTERNAL USE ONLY  |  DO NOT COPY</a:t>
            </a:r>
          </a:p>
        </p:txBody>
      </p:sp>
    </p:spTree>
    <p:extLst>
      <p:ext uri="{BB962C8B-B14F-4D97-AF65-F5344CB8AC3E}">
        <p14:creationId xmlns:p14="http://schemas.microsoft.com/office/powerpoint/2010/main" val="31776606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BluePanel.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3925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0" y="0"/>
            <a:ext cx="6061860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30000">
                <a:srgbClr val="147EC2"/>
              </a:gs>
              <a:gs pos="100000">
                <a:srgbClr val="66ACD8"/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98483" y="6472463"/>
            <a:ext cx="8379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fld id="{B39F3810-4318-4880-9D52-993D34A8444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061860" y="0"/>
            <a:ext cx="6126966" cy="6858000"/>
          </a:xfrm>
        </p:spPr>
        <p:txBody>
          <a:bodyPr/>
          <a:lstStyle>
            <a:lvl1pPr marL="287338" indent="-171450">
              <a:defRPr/>
            </a:lvl1pPr>
            <a:lvl2pPr marL="860425" indent="-225425">
              <a:defRPr/>
            </a:lvl2pPr>
            <a:lvl3pPr marL="1255713" indent="-228600"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76189" y="1244794"/>
            <a:ext cx="5707776" cy="27584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1236" y="6192463"/>
            <a:ext cx="1699388" cy="462562"/>
          </a:xfrm>
          <a:prstGeom prst="rect">
            <a:avLst/>
          </a:prstGeom>
        </p:spPr>
      </p:pic>
      <p:sp>
        <p:nvSpPr>
          <p:cNvPr id="9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6862206" y="6586980"/>
            <a:ext cx="4755268" cy="141812"/>
          </a:xfrm>
        </p:spPr>
        <p:txBody>
          <a:bodyPr lIns="0" rIns="0"/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OMPANY CONFIDENTIAL  |  FOR INTERNAL USE ONLY  |  DO NOT COPY</a:t>
            </a:r>
          </a:p>
        </p:txBody>
      </p:sp>
    </p:spTree>
    <p:extLst>
      <p:ext uri="{BB962C8B-B14F-4D97-AF65-F5344CB8AC3E}">
        <p14:creationId xmlns:p14="http://schemas.microsoft.com/office/powerpoint/2010/main" val="33653524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BluePanel.No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5374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98483" y="6472463"/>
            <a:ext cx="8379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fld id="{B39F3810-4318-4880-9D52-993D34A844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6061860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30000">
                <a:srgbClr val="147EC2"/>
              </a:gs>
              <a:gs pos="100000">
                <a:srgbClr val="66ACD8"/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6862206" y="6586980"/>
            <a:ext cx="4755268" cy="141812"/>
          </a:xfrm>
        </p:spPr>
        <p:txBody>
          <a:bodyPr lIns="0" rIns="0"/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OMPANY CONFIDENTIAL  |  FOR INTERNAL USE ONLY  |  DO NOT COPY</a:t>
            </a:r>
          </a:p>
        </p:txBody>
      </p:sp>
    </p:spTree>
    <p:extLst>
      <p:ext uri="{BB962C8B-B14F-4D97-AF65-F5344CB8AC3E}">
        <p14:creationId xmlns:p14="http://schemas.microsoft.com/office/powerpoint/2010/main" val="18344338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Blue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40905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6126965" y="0"/>
            <a:ext cx="6061860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30000">
                <a:srgbClr val="147EC2"/>
              </a:gs>
              <a:gs pos="100000">
                <a:srgbClr val="66ACD8"/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98483" y="6472463"/>
            <a:ext cx="8379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fld id="{B39F3810-4318-4880-9D52-993D34A844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9030" y="274638"/>
            <a:ext cx="5436796" cy="9969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528638" y="1371600"/>
            <a:ext cx="5437187" cy="5207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6862206" y="6586980"/>
            <a:ext cx="4755268" cy="141812"/>
          </a:xfrm>
        </p:spPr>
        <p:txBody>
          <a:bodyPr lIns="0" rIns="0"/>
          <a:lstStyle>
            <a:lvl1pPr algn="r"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COMPANY CONFIDENTIAL  |  FOR INTERNAL USE ONLY  |  DO NOT COPY</a:t>
            </a:r>
          </a:p>
        </p:txBody>
      </p:sp>
    </p:spTree>
    <p:extLst>
      <p:ext uri="{BB962C8B-B14F-4D97-AF65-F5344CB8AC3E}">
        <p14:creationId xmlns:p14="http://schemas.microsoft.com/office/powerpoint/2010/main" val="32214111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4683431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9029" y="274638"/>
            <a:ext cx="11141349" cy="99695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9029" y="1385888"/>
            <a:ext cx="11141349" cy="4740275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441" y="6472463"/>
            <a:ext cx="74148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98483" y="6472463"/>
            <a:ext cx="8379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fld id="{B39F3810-4318-4880-9D52-993D34A8444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7574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20" r:id="rId2"/>
    <p:sldLayoutId id="2147483911" r:id="rId3"/>
    <p:sldLayoutId id="2147483921" r:id="rId4"/>
    <p:sldLayoutId id="2147483916" r:id="rId5"/>
    <p:sldLayoutId id="2147483922" r:id="rId6"/>
    <p:sldLayoutId id="2147483901" r:id="rId7"/>
    <p:sldLayoutId id="2147483923" r:id="rId8"/>
    <p:sldLayoutId id="2147483924" r:id="rId9"/>
    <p:sldLayoutId id="2147483912" r:id="rId10"/>
    <p:sldLayoutId id="2147483925" r:id="rId11"/>
    <p:sldLayoutId id="2147483913" r:id="rId12"/>
    <p:sldLayoutId id="2147483926" r:id="rId13"/>
    <p:sldLayoutId id="2147483927" r:id="rId1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600" b="1" kern="1200">
          <a:solidFill>
            <a:schemeClr val="accent1"/>
          </a:solidFill>
          <a:latin typeface="+mn-lt"/>
          <a:ea typeface="+mj-ea"/>
          <a:cs typeface="Arial" panose="020B0604020202020204" pitchFamily="34" charset="0"/>
        </a:defRPr>
      </a:lvl1pPr>
    </p:titleStyle>
    <p:bodyStyle>
      <a:lvl1pPr marL="171450" indent="-171450" algn="l" defTabSz="914400" rtl="0" eaLnBrk="1" latinLnBrk="0" hangingPunct="1">
        <a:spcBef>
          <a:spcPts val="12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2625" indent="-225425" algn="l" defTabSz="914400" rtl="0" eaLnBrk="1" latinLnBrk="0" hangingPunct="1">
        <a:spcBef>
          <a:spcPts val="400"/>
        </a:spcBef>
        <a:buFont typeface="Arial" panose="020B0604020202020204" pitchFamily="34" charset="0"/>
        <a:buChar char="–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ts val="2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ts val="200"/>
        </a:spcBef>
        <a:buFont typeface="Arial" panose="020B0604020202020204" pitchFamily="34" charset="0"/>
        <a:buChar char="–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0"/>
        </a:spcBef>
        <a:buFont typeface="Arial" panose="020B0604020202020204" pitchFamily="34" charset="0"/>
        <a:buChar char="»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tals Upgrade – Georgia State Hackathon</a:t>
            </a:r>
            <a:br>
              <a:rPr lang="en-US" dirty="0"/>
            </a:b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r"/>
            <a:r>
              <a:rPr lang="en-US" dirty="0"/>
              <a:t>NOT NECESSARILY COMPANY CONFIDENTIAL  |  FOR USE ONLY  |  MAYBE COP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463338" y="6486525"/>
            <a:ext cx="725487" cy="365125"/>
          </a:xfrm>
        </p:spPr>
        <p:txBody>
          <a:bodyPr/>
          <a:lstStyle/>
          <a:p>
            <a:fld id="{A9AB427D-0AC8-49B2-AE4E-35E104EB3F5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3/25/18</a:t>
            </a:r>
          </a:p>
        </p:txBody>
      </p:sp>
    </p:spTree>
    <p:extLst>
      <p:ext uri="{BB962C8B-B14F-4D97-AF65-F5344CB8AC3E}">
        <p14:creationId xmlns:p14="http://schemas.microsoft.com/office/powerpoint/2010/main" val="33123742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9AB427D-0AC8-49B2-AE4E-35E104EB3F55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3113B11-B04D-45B4-9D90-C153D15A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ces*</a:t>
            </a:r>
          </a:p>
        </p:txBody>
      </p:sp>
      <p:sp>
        <p:nvSpPr>
          <p:cNvPr id="30" name="Slide Number Placeholder 4">
            <a:extLst>
              <a:ext uri="{FF2B5EF4-FFF2-40B4-BE49-F238E27FC236}">
                <a16:creationId xmlns:a16="http://schemas.microsoft.com/office/drawing/2014/main" id="{67453B59-4BD6-462E-8D45-3E1814E9B5B7}"/>
              </a:ext>
            </a:extLst>
          </p:cNvPr>
          <p:cNvSpPr txBox="1">
            <a:spLocks/>
          </p:cNvSpPr>
          <p:nvPr/>
        </p:nvSpPr>
        <p:spPr>
          <a:xfrm>
            <a:off x="11198483" y="6472463"/>
            <a:ext cx="8379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Calibri" panose="020F05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9AB427D-0AC8-49B2-AE4E-35E104EB3F55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6149A5AB-699A-4672-A4B5-5A20AAAE557B}"/>
              </a:ext>
            </a:extLst>
          </p:cNvPr>
          <p:cNvSpPr txBox="1"/>
          <p:nvPr/>
        </p:nvSpPr>
        <p:spPr>
          <a:xfrm>
            <a:off x="529029" y="1192411"/>
            <a:ext cx="8113082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>
                    <a:lumMod val="50000"/>
                  </a:schemeClr>
                </a:solidFill>
              </a:rPr>
              <a:t>App </a:t>
            </a:r>
            <a:r>
              <a:rPr lang="en-US" sz="2400" dirty="0">
                <a:solidFill>
                  <a:schemeClr val="accent1">
                    <a:lumMod val="50000"/>
                  </a:schemeClr>
                </a:solidFill>
                <a:sym typeface="Wingdings" panose="05000000000000000000" pitchFamily="2" charset="2"/>
              </a:rPr>
              <a:t> Web Browser Plugi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>
                    <a:lumMod val="50000"/>
                  </a:schemeClr>
                </a:solidFill>
                <a:sym typeface="Wingdings" panose="05000000000000000000" pitchFamily="2" charset="2"/>
              </a:rPr>
              <a:t>one install for constant us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>
                    <a:lumMod val="50000"/>
                  </a:schemeClr>
                </a:solidFill>
                <a:sym typeface="Wingdings" panose="05000000000000000000" pitchFamily="2" charset="2"/>
              </a:rPr>
              <a:t>not something to “take out” but something that is already th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>
                    <a:lumMod val="50000"/>
                  </a:schemeClr>
                </a:solidFill>
                <a:sym typeface="Wingdings" panose="05000000000000000000" pitchFamily="2" charset="2"/>
              </a:rPr>
              <a:t>Incentive  Convenienc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>
                    <a:lumMod val="50000"/>
                  </a:schemeClr>
                </a:solidFill>
                <a:sym typeface="Wingdings" panose="05000000000000000000" pitchFamily="2" charset="2"/>
              </a:rPr>
              <a:t>incentivizing the app could be costly and ineffectiv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>
                    <a:lumMod val="50000"/>
                  </a:schemeClr>
                </a:solidFill>
                <a:sym typeface="Wingdings" panose="05000000000000000000" pitchFamily="2" charset="2"/>
              </a:rPr>
              <a:t>additional plugin functionality encourages frequent and consistent u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>
                    <a:lumMod val="50000"/>
                  </a:schemeClr>
                </a:solidFill>
                <a:sym typeface="Wingdings" panose="05000000000000000000" pitchFamily="2" charset="2"/>
              </a:rPr>
              <a:t>Event  Daily Lif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>
                    <a:lumMod val="50000"/>
                  </a:schemeClr>
                </a:solidFill>
                <a:sym typeface="Wingdings" panose="05000000000000000000" pitchFamily="2" charset="2"/>
              </a:rPr>
              <a:t>to avoid loss of interest, it should not be an interesting thing at al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>
                    <a:lumMod val="50000"/>
                  </a:schemeClr>
                </a:solidFill>
                <a:sym typeface="Wingdings" panose="05000000000000000000" pitchFamily="2" charset="2"/>
              </a:rPr>
              <a:t>plugin is seen as an almost default feature of brows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>
                    <a:lumMod val="50000"/>
                  </a:schemeClr>
                </a:solidFill>
                <a:sym typeface="Wingdings" panose="05000000000000000000" pitchFamily="2" charset="2"/>
              </a:rPr>
              <a:t>novelty loss is avoided similar to interest with this being seen as a tool and not an accessory</a:t>
            </a:r>
            <a:endParaRPr lang="en-US" sz="2400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5" name="Footer Placeholder 4">
            <a:extLst>
              <a:ext uri="{FF2B5EF4-FFF2-40B4-BE49-F238E27FC236}">
                <a16:creationId xmlns:a16="http://schemas.microsoft.com/office/drawing/2014/main" id="{5F41C6F1-A5E0-43B3-9575-F3A691AA2EC8}"/>
              </a:ext>
            </a:extLst>
          </p:cNvPr>
          <p:cNvSpPr txBox="1">
            <a:spLocks/>
          </p:cNvSpPr>
          <p:nvPr/>
        </p:nvSpPr>
        <p:spPr>
          <a:xfrm>
            <a:off x="6915110" y="6583362"/>
            <a:ext cx="4755268" cy="141812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OT NECESSARILY COMPANY CONFIDENTIAL  |  FOR USE ONLY  |  MAYBE COP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802D6F4-945D-44A3-B44B-1AADEA0D3C36}"/>
              </a:ext>
            </a:extLst>
          </p:cNvPr>
          <p:cNvSpPr txBox="1"/>
          <p:nvPr/>
        </p:nvSpPr>
        <p:spPr>
          <a:xfrm>
            <a:off x="518447" y="920303"/>
            <a:ext cx="24269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*</a:t>
            </a:r>
            <a:r>
              <a:rPr lang="en-US" sz="1400" dirty="0"/>
              <a:t>sales pitch</a:t>
            </a:r>
          </a:p>
        </p:txBody>
      </p:sp>
    </p:spTree>
    <p:extLst>
      <p:ext uri="{BB962C8B-B14F-4D97-AF65-F5344CB8AC3E}">
        <p14:creationId xmlns:p14="http://schemas.microsoft.com/office/powerpoint/2010/main" val="21567122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9AB427D-0AC8-49B2-AE4E-35E104EB3F55}" type="slidenum">
              <a:rPr lang="en-US" smtClean="0"/>
              <a:pPr/>
              <a:t>3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2A1D885-BFD4-4D9C-9842-970ADCD18297}"/>
              </a:ext>
            </a:extLst>
          </p:cNvPr>
          <p:cNvGrpSpPr/>
          <p:nvPr/>
        </p:nvGrpSpPr>
        <p:grpSpPr>
          <a:xfrm>
            <a:off x="2040857" y="1068277"/>
            <a:ext cx="7143750" cy="4829175"/>
            <a:chOff x="2040857" y="1068277"/>
            <a:chExt cx="7143750" cy="4829175"/>
          </a:xfrm>
        </p:grpSpPr>
        <p:pic>
          <p:nvPicPr>
            <p:cNvPr id="10" name="Picture 2" descr="ok-google-homepage">
              <a:extLst>
                <a:ext uri="{FF2B5EF4-FFF2-40B4-BE49-F238E27FC236}">
                  <a16:creationId xmlns:a16="http://schemas.microsoft.com/office/drawing/2014/main" id="{C705B1E8-5F8E-4875-A358-18DA448DF04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40857" y="1068277"/>
              <a:ext cx="7143750" cy="48291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2" descr="ok-google-homepage">
              <a:extLst>
                <a:ext uri="{FF2B5EF4-FFF2-40B4-BE49-F238E27FC236}">
                  <a16:creationId xmlns:a16="http://schemas.microsoft.com/office/drawing/2014/main" id="{C326285F-5811-49DB-9263-801D27A8B1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88" t="7281" r="17354" b="86478"/>
            <a:stretch/>
          </p:blipFill>
          <p:spPr bwMode="auto">
            <a:xfrm>
              <a:off x="7766384" y="1421950"/>
              <a:ext cx="180473" cy="3013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85AC3618-9DB0-48AD-98DE-97C96A289668}"/>
              </a:ext>
            </a:extLst>
          </p:cNvPr>
          <p:cNvSpPr txBox="1">
            <a:spLocks/>
          </p:cNvSpPr>
          <p:nvPr/>
        </p:nvSpPr>
        <p:spPr>
          <a:xfrm>
            <a:off x="11198483" y="6472463"/>
            <a:ext cx="8379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Calibri" panose="020F050202020403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9AB427D-0AC8-49B2-AE4E-35E104EB3F5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74CC7795-4B89-436C-BB4E-D2A39B66FD95}"/>
              </a:ext>
            </a:extLst>
          </p:cNvPr>
          <p:cNvSpPr txBox="1">
            <a:spLocks/>
          </p:cNvSpPr>
          <p:nvPr/>
        </p:nvSpPr>
        <p:spPr>
          <a:xfrm>
            <a:off x="529029" y="274638"/>
            <a:ext cx="11141349" cy="99695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Vitals Plugin – User Interface Relocation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51F5BE1-9C94-4C8E-BB34-431F840D0B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185" y="1430228"/>
            <a:ext cx="1485900" cy="410527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0B170EE-4079-4969-B137-66AEB540CBA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53"/>
          <a:stretch/>
        </p:blipFill>
        <p:spPr>
          <a:xfrm>
            <a:off x="2497302" y="1873687"/>
            <a:ext cx="6368411" cy="2995424"/>
          </a:xfrm>
          <a:prstGeom prst="rect">
            <a:avLst/>
          </a:prstGeom>
          <a:effectLst>
            <a:outerShdw blurRad="177800" dist="38100" dir="5400000" sx="102000" sy="102000" algn="t" rotWithShape="0">
              <a:prstClr val="black">
                <a:alpha val="40000"/>
              </a:prstClr>
            </a:outerShdw>
            <a:softEdge rad="0"/>
          </a:effectLst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7A17203C-C11B-4AA2-815D-A38DB655B359}"/>
              </a:ext>
            </a:extLst>
          </p:cNvPr>
          <p:cNvGrpSpPr/>
          <p:nvPr/>
        </p:nvGrpSpPr>
        <p:grpSpPr>
          <a:xfrm>
            <a:off x="6025396" y="1763709"/>
            <a:ext cx="2722135" cy="661086"/>
            <a:chOff x="5889458" y="1314120"/>
            <a:chExt cx="4541922" cy="1100827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6A5A13FC-1598-4F96-A34D-86230DD7D5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223" t="12399" r="6210" b="75392"/>
            <a:stretch/>
          </p:blipFill>
          <p:spPr>
            <a:xfrm>
              <a:off x="5889458" y="1314120"/>
              <a:ext cx="4541922" cy="300726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  <a:softEdge rad="0"/>
            </a:effectLst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E810794E-D957-4C8D-B2A1-0FEF86AAB4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4347" t="25925" r="14334" b="47619"/>
            <a:stretch/>
          </p:blipFill>
          <p:spPr>
            <a:xfrm>
              <a:off x="5889458" y="1614846"/>
              <a:ext cx="4541922" cy="800101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  <a:softEdge rad="0"/>
            </a:effectLst>
          </p:spPr>
        </p:pic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74E894D9-A947-449E-9FEC-9153D4BACE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41230" y="1502593"/>
            <a:ext cx="180473" cy="180473"/>
          </a:xfrm>
          <a:prstGeom prst="rect">
            <a:avLst/>
          </a:prstGeom>
          <a:noFill/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83610A2C-B4D2-46EA-9746-CDE470955A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61530" y="2677027"/>
            <a:ext cx="685799" cy="70986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ECF2949D-5B8F-434B-9D52-1D46620E9117}"/>
              </a:ext>
            </a:extLst>
          </p:cNvPr>
          <p:cNvSpPr>
            <a:spLocks noChangeAspect="1"/>
          </p:cNvSpPr>
          <p:nvPr/>
        </p:nvSpPr>
        <p:spPr>
          <a:xfrm>
            <a:off x="7741694" y="1502933"/>
            <a:ext cx="181727" cy="180474"/>
          </a:xfrm>
          <a:prstGeom prst="roundRect">
            <a:avLst/>
          </a:prstGeom>
          <a:noFill/>
          <a:ln w="3175">
            <a:solidFill>
              <a:schemeClr val="tx1">
                <a:lumMod val="65000"/>
                <a:lumOff val="35000"/>
              </a:schemeClr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7B5C26B1-BE87-4369-9A7E-BF654E3ACE9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42298" y="1973821"/>
            <a:ext cx="431967" cy="434374"/>
          </a:xfrm>
          <a:prstGeom prst="rect">
            <a:avLst/>
          </a:prstGeom>
        </p:spPr>
      </p:pic>
      <p:pic>
        <p:nvPicPr>
          <p:cNvPr id="26" name="Picture 10" descr="Related image">
            <a:extLst>
              <a:ext uri="{FF2B5EF4-FFF2-40B4-BE49-F238E27FC236}">
                <a16:creationId xmlns:a16="http://schemas.microsoft.com/office/drawing/2014/main" id="{56CBB605-E746-40B7-BAAE-833B00CBF6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9788" y="6952702"/>
            <a:ext cx="111427" cy="166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Footer Placeholder 4">
            <a:extLst>
              <a:ext uri="{FF2B5EF4-FFF2-40B4-BE49-F238E27FC236}">
                <a16:creationId xmlns:a16="http://schemas.microsoft.com/office/drawing/2014/main" id="{4EE992BD-F9F8-45EA-B620-DDA39456B442}"/>
              </a:ext>
            </a:extLst>
          </p:cNvPr>
          <p:cNvSpPr txBox="1">
            <a:spLocks/>
          </p:cNvSpPr>
          <p:nvPr/>
        </p:nvSpPr>
        <p:spPr>
          <a:xfrm>
            <a:off x="6915110" y="6583362"/>
            <a:ext cx="4755268" cy="141812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OT NECESSARILY COMPANY CONFIDENTIAL  |  FOR USE ONLY  |  MAYBE COPY</a:t>
            </a:r>
          </a:p>
        </p:txBody>
      </p:sp>
    </p:spTree>
    <p:extLst>
      <p:ext uri="{BB962C8B-B14F-4D97-AF65-F5344CB8AC3E}">
        <p14:creationId xmlns:p14="http://schemas.microsoft.com/office/powerpoint/2010/main" val="25621996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xit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6" dur="20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7" dur="1" fill="hold">
                                              <p:stCondLst>
                                                <p:cond delay="1999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8" presetID="10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9" dur="20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1999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11" presetID="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12" dur="2000" fill="hold"/>
                                            <p:tgtEl>
                                              <p:spTgt spid="23"/>
                                            </p:tgtEl>
                                          </p:cBhvr>
                                          <p:by x="150000" y="150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3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14" presetID="37" presetClass="path" presetSubtype="0" accel="8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4.06356E-7 1.85185E-6 L 0.04858 -0.15023 C 0.06356 -0.17986 0.07476 -0.18588 0.08609 -0.19537 C 0.09729 -0.20463 0.11592 -0.20417 0.11644 -0.20671 C 0.11787 -0.20417 0.17492 -0.21204 0.17439 -0.20996 " pathEditMode="relative" rAng="0" ptsTypes="AAAAA">
                                          <p:cBhvr>
                                            <p:cTn id="15" dur="1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713" y="-10509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6" presetID="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17" dur="1500" fill="hold"/>
                                            <p:tgtEl>
                                              <p:spTgt spid="23"/>
                                            </p:tgtEl>
                                          </p:cBhvr>
                                          <p:by x="20000" y="2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8" presetID="10" presetClass="exit" presetSubtype="0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19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nodeType="withEffect" p14:presetBounceEnd="28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8000">
                                          <p:cBhvr additive="base">
                                            <p:cTn id="23" dur="1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8000">
                                          <p:cBhvr additive="base">
                                            <p:cTn id="24" dur="1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10" presetClass="entr" presetSubtype="0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7" dur="5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8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29" presetID="0" presetClass="path" presetSubtype="0" accel="10000" decel="16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.0039 4.07407E-6 L -0.0564 -0.20371 L -0.03217 -0.36713 L 0.03581 -0.44792 L 0.07345 -0.53542 L 0.08817 -0.63172 L 0.05743 -0.70209 L 0.05183 -0.78056 L 0.05183 -0.78033 " pathEditMode="relative" rAng="0" ptsTypes="AAAAAAAAA">
                                          <p:cBhvr>
                                            <p:cTn id="30" dur="20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198" y="-39028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1" fill="hold">
                                <p:stCondLst>
                                  <p:cond delay="6000"/>
                                </p:stCondLst>
                                <p:childTnLst>
                                  <p:par>
                                    <p:cTn id="32" presetID="1" presetClass="entr" presetSubtype="0" fill="hold" grpId="0" nodeType="after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34" presetID="1" presetClass="exit" presetSubtype="0" fill="hold" grpId="1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36" presetID="17" presetClass="entr" presetSubtype="1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8" dur="2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9" dur="2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0" dur="2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1" dur="2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2" fill="hold">
                                <p:stCondLst>
                                  <p:cond delay="6700"/>
                                </p:stCondLst>
                                <p:childTnLst>
                                  <p:par>
                                    <p:cTn id="43" presetID="0" presetClass="path" presetSubtype="0" accel="5000" decel="14000" fill="hold" nodeType="afterEffect">
                                      <p:stCondLst>
                                        <p:cond delay="500"/>
                                      </p:stCondLst>
                                      <p:childTnLst>
                                        <p:animMotion origin="layout" path="M 0.05261 -0.78473 C 0.0517 -0.775 0.05405 -0.76112 0.05313 -0.75093 C 0.05287 -0.73473 0.05209 -0.725 0.05196 -0.70903 C 0.05795 -0.70186 0.05717 -0.69746 0.06329 -0.69051 C 0.06941 -0.69306 0.07606 -0.67801 0.08257 -0.68056 C 0.08739 -0.68727 0.10041 -0.6875 0.10562 -0.69422 " pathEditMode="relative" rAng="0" ptsTypes="AAAAAA">
                                          <p:cBhvr>
                                            <p:cTn id="44" dur="10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2618" y="5208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5" fill="hold">
                                <p:stCondLst>
                                  <p:cond delay="8200"/>
                                </p:stCondLst>
                                <p:childTnLst>
                                  <p:par>
                                    <p:cTn id="46" presetID="1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48" presetID="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49" dur="200" fill="hold"/>
                                            <p:tgtEl>
                                              <p:spTgt spid="25"/>
                                            </p:tgtEl>
                                          </p:cBhvr>
                                          <p:by x="120000" y="120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0" fill="hold">
                                <p:stCondLst>
                                  <p:cond delay="8400"/>
                                </p:stCondLst>
                                <p:childTnLst>
                                  <p:par>
                                    <p:cTn id="51" presetID="17" presetClass="exit" presetSubtype="1" fill="hold" nodeType="afterEffect">
                                      <p:stCondLst>
                                        <p:cond delay="500"/>
                                      </p:stCondLst>
                                      <p:childTnLst>
                                        <p:anim calcmode="lin" valueType="num">
                                          <p:cBhvr>
                                            <p:cTn id="52" dur="200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3" dur="200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ppt_y-ppt_h/2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4" dur="200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w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5" dur="200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199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57" presetID="17" presetClass="exit" presetSubtype="1" fill="hold" nodeType="withEffect">
                                      <p:stCondLst>
                                        <p:cond delay="480"/>
                                      </p:stCondLst>
                                      <p:childTnLst>
                                        <p:anim calcmode="lin" valueType="num">
                                          <p:cBhvr>
                                            <p:cTn id="58" dur="200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9" dur="200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ppt_y-ppt_h/2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0" dur="200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w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1" dur="200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199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3" fill="hold">
                                <p:stCondLst>
                                  <p:cond delay="9100"/>
                                </p:stCondLst>
                                <p:childTnLst>
                                  <p:par>
                                    <p:cTn id="64" presetID="2" presetClass="exit" presetSubtype="4" fill="hold" nodeType="afterEffect">
                                      <p:stCondLst>
                                        <p:cond delay="2000"/>
                                      </p:stCondLst>
                                      <p:childTnLst>
                                        <p:anim calcmode="lin" valueType="num">
                                          <p:cBhvr additive="base">
                                            <p:cTn id="65" dur="500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6" dur="500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1+ppt_h/2"/>
                                              </p:val>
                                            </p:tav>
                                          </p:tavLst>
                                        </p:anim>
                                        <p:set>
                                          <p:cBhvr>
                                            <p:cTn id="67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68" presetID="2" presetClass="exit" presetSubtype="4" fill="hold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anim calcmode="lin" valueType="num">
                                          <p:cBhvr additive="base">
                                            <p:cTn id="69" dur="550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70" dur="550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1+ppt_h/2"/>
                                              </p:val>
                                            </p:tav>
                                          </p:tavLst>
                                        </p:anim>
                                        <p:set>
                                          <p:cBhvr>
                                            <p:cTn id="71" dur="1" fill="hold">
                                              <p:stCondLst>
                                                <p:cond delay="549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72" presetID="2" presetClass="exit" presetSubtype="4" fill="hold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anim calcmode="lin" valueType="num">
                                          <p:cBhvr additive="base">
                                            <p:cTn id="73" dur="500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74" dur="500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1+ppt_h/2"/>
                                              </p:val>
                                            </p:tav>
                                          </p:tavLst>
                                        </p:anim>
                                        <p:set>
                                          <p:cBhvr>
                                            <p:cTn id="75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6" fill="hold">
                                <p:stCondLst>
                                  <p:cond delay="11650"/>
                                </p:stCondLst>
                                <p:childTnLst>
                                  <p:par>
                                    <p:cTn id="77" presetID="10" presetClass="entr" presetSubtype="0" fill="hold" nodeType="after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9" dur="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4" grpId="0" animBg="1"/>
          <p:bldP spid="24" grpId="1" animBg="1"/>
        </p:bld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xit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6" dur="20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7" dur="1" fill="hold">
                                              <p:stCondLst>
                                                <p:cond delay="1999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8" presetID="10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9" dur="20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1999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11" presetID="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12" dur="2000" fill="hold"/>
                                            <p:tgtEl>
                                              <p:spTgt spid="23"/>
                                            </p:tgtEl>
                                          </p:cBhvr>
                                          <p:by x="150000" y="150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3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14" presetID="37" presetClass="path" presetSubtype="0" accel="8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4.06356E-7 1.85185E-6 L 0.04858 -0.15023 C 0.06356 -0.17986 0.07476 -0.18588 0.08609 -0.19537 C 0.09729 -0.20463 0.11592 -0.20417 0.11644 -0.20671 C 0.11787 -0.20417 0.17492 -0.21204 0.17439 -0.20996 " pathEditMode="relative" rAng="0" ptsTypes="AAAAA">
                                          <p:cBhvr>
                                            <p:cTn id="15" dur="1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713" y="-10509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6" presetID="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17" dur="1500" fill="hold"/>
                                            <p:tgtEl>
                                              <p:spTgt spid="23"/>
                                            </p:tgtEl>
                                          </p:cBhvr>
                                          <p:by x="20000" y="2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8" presetID="10" presetClass="exit" presetSubtype="0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19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1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1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10" presetClass="entr" presetSubtype="0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7" dur="5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8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29" presetID="0" presetClass="path" presetSubtype="0" accel="10000" decel="16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.0039 4.07407E-6 L -0.0564 -0.20371 L -0.03217 -0.36713 L 0.03581 -0.44792 L 0.07345 -0.53542 L 0.08817 -0.63172 L 0.05743 -0.70209 L 0.05183 -0.78056 L 0.05183 -0.78033 " pathEditMode="relative" rAng="0" ptsTypes="AAAAAAAAA">
                                          <p:cBhvr>
                                            <p:cTn id="30" dur="20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198" y="-39028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1" fill="hold">
                                <p:stCondLst>
                                  <p:cond delay="6000"/>
                                </p:stCondLst>
                                <p:childTnLst>
                                  <p:par>
                                    <p:cTn id="32" presetID="1" presetClass="entr" presetSubtype="0" fill="hold" grpId="0" nodeType="after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34" presetID="1" presetClass="exit" presetSubtype="0" fill="hold" grpId="1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36" presetID="17" presetClass="entr" presetSubtype="1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8" dur="2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9" dur="2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0" dur="2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1" dur="2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2" fill="hold">
                                <p:stCondLst>
                                  <p:cond delay="6700"/>
                                </p:stCondLst>
                                <p:childTnLst>
                                  <p:par>
                                    <p:cTn id="43" presetID="0" presetClass="path" presetSubtype="0" accel="5000" decel="14000" fill="hold" nodeType="afterEffect">
                                      <p:stCondLst>
                                        <p:cond delay="500"/>
                                      </p:stCondLst>
                                      <p:childTnLst>
                                        <p:animMotion origin="layout" path="M 0.05261 -0.78473 C 0.0517 -0.775 0.05405 -0.76112 0.05313 -0.75093 C 0.05287 -0.73473 0.05209 -0.725 0.05196 -0.70903 C 0.05795 -0.70186 0.05717 -0.69746 0.06329 -0.69051 C 0.06941 -0.69306 0.07606 -0.67801 0.08257 -0.68056 C 0.08739 -0.68727 0.10041 -0.6875 0.10562 -0.69422 " pathEditMode="relative" rAng="0" ptsTypes="AAAAAA">
                                          <p:cBhvr>
                                            <p:cTn id="44" dur="10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2618" y="5208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5" fill="hold">
                                <p:stCondLst>
                                  <p:cond delay="8200"/>
                                </p:stCondLst>
                                <p:childTnLst>
                                  <p:par>
                                    <p:cTn id="46" presetID="1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48" presetID="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49" dur="200" fill="hold"/>
                                            <p:tgtEl>
                                              <p:spTgt spid="25"/>
                                            </p:tgtEl>
                                          </p:cBhvr>
                                          <p:by x="120000" y="120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0" fill="hold">
                                <p:stCondLst>
                                  <p:cond delay="8400"/>
                                </p:stCondLst>
                                <p:childTnLst>
                                  <p:par>
                                    <p:cTn id="51" presetID="17" presetClass="exit" presetSubtype="1" fill="hold" nodeType="afterEffect">
                                      <p:stCondLst>
                                        <p:cond delay="500"/>
                                      </p:stCondLst>
                                      <p:childTnLst>
                                        <p:anim calcmode="lin" valueType="num">
                                          <p:cBhvr>
                                            <p:cTn id="52" dur="200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3" dur="200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ppt_y-ppt_h/2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4" dur="200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w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5" dur="200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199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57" presetID="17" presetClass="exit" presetSubtype="1" fill="hold" nodeType="withEffect">
                                      <p:stCondLst>
                                        <p:cond delay="480"/>
                                      </p:stCondLst>
                                      <p:childTnLst>
                                        <p:anim calcmode="lin" valueType="num">
                                          <p:cBhvr>
                                            <p:cTn id="58" dur="200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9" dur="200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ppt_y-ppt_h/2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0" dur="200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w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1" dur="200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199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3" fill="hold">
                                <p:stCondLst>
                                  <p:cond delay="9100"/>
                                </p:stCondLst>
                                <p:childTnLst>
                                  <p:par>
                                    <p:cTn id="64" presetID="2" presetClass="exit" presetSubtype="4" fill="hold" nodeType="afterEffect">
                                      <p:stCondLst>
                                        <p:cond delay="2000"/>
                                      </p:stCondLst>
                                      <p:childTnLst>
                                        <p:anim calcmode="lin" valueType="num">
                                          <p:cBhvr additive="base">
                                            <p:cTn id="65" dur="500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6" dur="500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1+ppt_h/2"/>
                                              </p:val>
                                            </p:tav>
                                          </p:tavLst>
                                        </p:anim>
                                        <p:set>
                                          <p:cBhvr>
                                            <p:cTn id="67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68" presetID="2" presetClass="exit" presetSubtype="4" fill="hold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anim calcmode="lin" valueType="num">
                                          <p:cBhvr additive="base">
                                            <p:cTn id="69" dur="550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70" dur="550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1+ppt_h/2"/>
                                              </p:val>
                                            </p:tav>
                                          </p:tavLst>
                                        </p:anim>
                                        <p:set>
                                          <p:cBhvr>
                                            <p:cTn id="71" dur="1" fill="hold">
                                              <p:stCondLst>
                                                <p:cond delay="549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72" presetID="2" presetClass="exit" presetSubtype="4" fill="hold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anim calcmode="lin" valueType="num">
                                          <p:cBhvr additive="base">
                                            <p:cTn id="73" dur="500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74" dur="500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1+ppt_h/2"/>
                                              </p:val>
                                            </p:tav>
                                          </p:tavLst>
                                        </p:anim>
                                        <p:set>
                                          <p:cBhvr>
                                            <p:cTn id="75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6" fill="hold">
                                <p:stCondLst>
                                  <p:cond delay="11650"/>
                                </p:stCondLst>
                                <p:childTnLst>
                                  <p:par>
                                    <p:cTn id="77" presetID="10" presetClass="entr" presetSubtype="0" fill="hold" nodeType="after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9" dur="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4" grpId="0" animBg="1"/>
          <p:bldP spid="24" grpId="1" animBg="1"/>
        </p:bldLst>
      </p:timing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nthemInc.2018">
  <a:themeElements>
    <a:clrScheme name="Anthem099167">
      <a:dk1>
        <a:srgbClr val="000000"/>
      </a:dk1>
      <a:lt1>
        <a:sysClr val="window" lastClr="FFFFFF"/>
      </a:lt1>
      <a:dk2>
        <a:srgbClr val="5B6770"/>
      </a:dk2>
      <a:lt2>
        <a:srgbClr val="FFFFFF"/>
      </a:lt2>
      <a:accent1>
        <a:srgbClr val="0063A7"/>
      </a:accent1>
      <a:accent2>
        <a:srgbClr val="F3833D"/>
      </a:accent2>
      <a:accent3>
        <a:srgbClr val="98B460"/>
      </a:accent3>
      <a:accent4>
        <a:srgbClr val="FEC246"/>
      </a:accent4>
      <a:accent5>
        <a:srgbClr val="5D9674"/>
      </a:accent5>
      <a:accent6>
        <a:srgbClr val="D3D0A1"/>
      </a:accent6>
      <a:hlink>
        <a:srgbClr val="518CC9"/>
      </a:hlink>
      <a:folHlink>
        <a:srgbClr val="D9D9D9"/>
      </a:folHlink>
    </a:clrScheme>
    <a:fontScheme name="AnthemFeb2015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79C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Custom Color 1">
      <a:srgbClr val="D9D9D9"/>
    </a:custClr>
    <a:custClr name="Custom Color 2">
      <a:srgbClr val="BA9D80"/>
    </a:custClr>
    <a:custClr name="Custom Color 3">
      <a:srgbClr val="518CC9"/>
    </a:custClr>
    <a:custClr name="Custom Color 4">
      <a:srgbClr val="815E90"/>
    </a:custClr>
    <a:custClr name="Custom Color 5">
      <a:srgbClr val="0C2577"/>
    </a:custClr>
    <a:custClr name="Custom Color 6">
      <a:srgbClr val="D90026"/>
    </a:custClr>
  </a:custClrLst>
  <a:extLst>
    <a:ext uri="{05A4C25C-085E-4340-85A3-A5531E510DB2}">
      <thm15:themeFamily xmlns:thm15="http://schemas.microsoft.com/office/thememl/2012/main" name="AnthemInc.2018_16x9" id="{04A4FD68-BA2D-9040-93EC-7E3BDC2D9EAF}" vid="{063A31DB-7BD8-5043-87F1-BAA239A417D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Anthem099167">
    <a:dk1>
      <a:srgbClr val="000000"/>
    </a:dk1>
    <a:lt1>
      <a:sysClr val="window" lastClr="FFFFFF"/>
    </a:lt1>
    <a:dk2>
      <a:srgbClr val="5B6770"/>
    </a:dk2>
    <a:lt2>
      <a:srgbClr val="FFFFFF"/>
    </a:lt2>
    <a:accent1>
      <a:srgbClr val="0063A7"/>
    </a:accent1>
    <a:accent2>
      <a:srgbClr val="F3833D"/>
    </a:accent2>
    <a:accent3>
      <a:srgbClr val="98B460"/>
    </a:accent3>
    <a:accent4>
      <a:srgbClr val="FEC246"/>
    </a:accent4>
    <a:accent5>
      <a:srgbClr val="5D9674"/>
    </a:accent5>
    <a:accent6>
      <a:srgbClr val="D3D0A1"/>
    </a:accent6>
    <a:hlink>
      <a:srgbClr val="518CC9"/>
    </a:hlink>
    <a:folHlink>
      <a:srgbClr val="D9D9D9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AnthemInc.2018_16x9</Template>
  <TotalTime>822</TotalTime>
  <Words>145</Words>
  <Application>Microsoft Office PowerPoint</Application>
  <PresentationFormat>Custom</PresentationFormat>
  <Paragraphs>23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rial</vt:lpstr>
      <vt:lpstr>Calibri</vt:lpstr>
      <vt:lpstr>Cambria</vt:lpstr>
      <vt:lpstr>Georgia</vt:lpstr>
      <vt:lpstr>Wingdings</vt:lpstr>
      <vt:lpstr>AnthemInc.2018</vt:lpstr>
      <vt:lpstr>think-cell Slide</vt:lpstr>
      <vt:lpstr>Vitals Upgrade – Georgia State Hackathon </vt:lpstr>
      <vt:lpstr>Differences*</vt:lpstr>
      <vt:lpstr>PowerPoint Presentation</vt:lpstr>
    </vt:vector>
  </TitlesOfParts>
  <Company>WellPoint IN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tals Working Group Update</dc:title>
  <dc:creator>Zerhusen, Michael J.</dc:creator>
  <cp:lastModifiedBy>Joshua Vincent Kingsley</cp:lastModifiedBy>
  <cp:revision>94</cp:revision>
  <cp:lastPrinted>2015-03-19T15:32:49Z</cp:lastPrinted>
  <dcterms:created xsi:type="dcterms:W3CDTF">2018-01-16T19:18:32Z</dcterms:created>
  <dcterms:modified xsi:type="dcterms:W3CDTF">2018-03-25T11:30:02Z</dcterms:modified>
</cp:coreProperties>
</file>